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38"/>
  </p:notesMasterIdLst>
  <p:sldIdLst>
    <p:sldId id="257" r:id="rId3"/>
    <p:sldId id="319" r:id="rId4"/>
    <p:sldId id="320" r:id="rId5"/>
    <p:sldId id="286" r:id="rId6"/>
    <p:sldId id="317" r:id="rId7"/>
    <p:sldId id="287" r:id="rId8"/>
    <p:sldId id="288" r:id="rId9"/>
    <p:sldId id="305" r:id="rId10"/>
    <p:sldId id="318" r:id="rId11"/>
    <p:sldId id="306" r:id="rId12"/>
    <p:sldId id="307" r:id="rId13"/>
    <p:sldId id="309" r:id="rId14"/>
    <p:sldId id="310" r:id="rId15"/>
    <p:sldId id="316" r:id="rId16"/>
    <p:sldId id="313" r:id="rId17"/>
    <p:sldId id="311" r:id="rId18"/>
    <p:sldId id="312" r:id="rId19"/>
    <p:sldId id="329" r:id="rId20"/>
    <p:sldId id="314" r:id="rId21"/>
    <p:sldId id="321" r:id="rId22"/>
    <p:sldId id="322" r:id="rId23"/>
    <p:sldId id="323" r:id="rId24"/>
    <p:sldId id="324" r:id="rId25"/>
    <p:sldId id="326" r:id="rId26"/>
    <p:sldId id="328" r:id="rId27"/>
    <p:sldId id="338" r:id="rId28"/>
    <p:sldId id="340" r:id="rId29"/>
    <p:sldId id="341" r:id="rId30"/>
    <p:sldId id="342" r:id="rId31"/>
    <p:sldId id="343" r:id="rId32"/>
    <p:sldId id="344" r:id="rId33"/>
    <p:sldId id="345" r:id="rId34"/>
    <p:sldId id="327" r:id="rId35"/>
    <p:sldId id="333" r:id="rId36"/>
    <p:sldId id="332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7" d="100"/>
          <a:sy n="87" d="100"/>
        </p:scale>
        <p:origin x="437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microsoft.com/office/2016/11/relationships/changesInfo" Target="changesInfos/changesInfo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71B50FF3-AB2A-448E-9D5A-19D618C94357}"/>
  </pc:docChgLst>
  <pc:docChgLst>
    <pc:chgData name="Sandeep Reddy Hanumaihgari" userId="86a9f56c-2e65-4a80-9d64-63b9c07412a6" providerId="ADAL" clId="{A193D7E2-5159-4464-8D1C-E1211917F43C}"/>
    <pc:docChg chg="addSld delSld modSld">
      <pc:chgData name="Sandeep Reddy Hanumaihgari" userId="86a9f56c-2e65-4a80-9d64-63b9c07412a6" providerId="ADAL" clId="{A193D7E2-5159-4464-8D1C-E1211917F43C}" dt="2018-01-30T05:00:20.251" v="49"/>
      <pc:docMkLst>
        <pc:docMk/>
      </pc:docMkLst>
      <pc:sldChg chg="modSp">
        <pc:chgData name="Sandeep Reddy Hanumaihgari" userId="86a9f56c-2e65-4a80-9d64-63b9c07412a6" providerId="ADAL" clId="{A193D7E2-5159-4464-8D1C-E1211917F43C}" dt="2018-01-30T04:56:58.934" v="22" actId="5793"/>
        <pc:sldMkLst>
          <pc:docMk/>
          <pc:sldMk cId="4234027633" sldId="320"/>
        </pc:sldMkLst>
        <pc:spChg chg="mod">
          <ac:chgData name="Sandeep Reddy Hanumaihgari" userId="86a9f56c-2e65-4a80-9d64-63b9c07412a6" providerId="ADAL" clId="{A193D7E2-5159-4464-8D1C-E1211917F43C}" dt="2018-01-30T04:56:58.934" v="22" actId="5793"/>
          <ac:spMkLst>
            <pc:docMk/>
            <pc:sldMk cId="4234027633" sldId="320"/>
            <ac:spMk id="3" creationId="{B7ECF8AB-6FFA-4140-B97C-862BA5476F33}"/>
          </ac:spMkLst>
        </pc:spChg>
      </pc:sldChg>
      <pc:sldChg chg="addSp delSp modSp add">
        <pc:chgData name="Sandeep Reddy Hanumaihgari" userId="86a9f56c-2e65-4a80-9d64-63b9c07412a6" providerId="ADAL" clId="{A193D7E2-5159-4464-8D1C-E1211917F43C}" dt="2018-01-30T05:00:20.251" v="49"/>
        <pc:sldMkLst>
          <pc:docMk/>
          <pc:sldMk cId="575064927" sldId="333"/>
        </pc:sldMkLst>
        <pc:spChg chg="mod">
          <ac:chgData name="Sandeep Reddy Hanumaihgari" userId="86a9f56c-2e65-4a80-9d64-63b9c07412a6" providerId="ADAL" clId="{A193D7E2-5159-4464-8D1C-E1211917F43C}" dt="2018-01-30T04:59:54.966" v="48" actId="20577"/>
          <ac:spMkLst>
            <pc:docMk/>
            <pc:sldMk cId="575064927" sldId="333"/>
            <ac:spMk id="2" creationId="{45A05E0B-744B-4AB7-B114-7C5BD85010DF}"/>
          </ac:spMkLst>
        </pc:spChg>
        <pc:spChg chg="del">
          <ac:chgData name="Sandeep Reddy Hanumaihgari" userId="86a9f56c-2e65-4a80-9d64-63b9c07412a6" providerId="ADAL" clId="{A193D7E2-5159-4464-8D1C-E1211917F43C}" dt="2018-01-30T05:00:20.251" v="49"/>
          <ac:spMkLst>
            <pc:docMk/>
            <pc:sldMk cId="575064927" sldId="333"/>
            <ac:spMk id="3" creationId="{8A035EE3-3C1A-4150-A1F2-4F1BAA454282}"/>
          </ac:spMkLst>
        </pc:spChg>
        <pc:picChg chg="add mod">
          <ac:chgData name="Sandeep Reddy Hanumaihgari" userId="86a9f56c-2e65-4a80-9d64-63b9c07412a6" providerId="ADAL" clId="{A193D7E2-5159-4464-8D1C-E1211917F43C}" dt="2018-01-30T05:00:20.251" v="49"/>
          <ac:picMkLst>
            <pc:docMk/>
            <pc:sldMk cId="575064927" sldId="333"/>
            <ac:picMk id="4" creationId="{D96D3AA2-8AF0-4DF7-8BB0-8BFBA1B8722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6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272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0400" y="1534637"/>
            <a:ext cx="11664000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0400" y="6326136"/>
            <a:ext cx="591024" cy="288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154" y="6392292"/>
            <a:ext cx="833125" cy="272499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435832" y="6167837"/>
            <a:ext cx="11760629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38946" y="1259909"/>
            <a:ext cx="11760629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88651" y="164637"/>
            <a:ext cx="11664000" cy="57606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Ac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0" hasCustomPrompt="1"/>
          </p:nvPr>
        </p:nvSpPr>
        <p:spPr>
          <a:xfrm>
            <a:off x="288651" y="745067"/>
            <a:ext cx="11664000" cy="391021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4357355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7/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7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sz="3200" b="0" dirty="0"/>
              <a:t>SAP S/4HANA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36AB2-C4B8-4396-93BA-771ACF94A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 single copy of data – one source of truth</a:t>
            </a:r>
            <a:br>
              <a:rPr lang="en-IN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149ACA7-541F-45AA-A842-9A25898742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9546" y="1454150"/>
            <a:ext cx="9638920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ECE99E-ED0E-49BC-AA52-D442E20F1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user experience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AA16772-A076-463C-90D6-011BE0BC58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36162" y="1454150"/>
            <a:ext cx="10565688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08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F014A-4D6A-4E10-9678-A34695A6F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AP Fiori: The user experience of SAP S/4HANA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35F3D6B-B35A-49E2-8527-92C7BFE709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1889" y="1454150"/>
            <a:ext cx="10634235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73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55832-7E49-4193-A45A-E2A8CA5A7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ransition to SAP S/4HANA</a:t>
            </a:r>
            <a:br>
              <a:rPr lang="en-IN" dirty="0"/>
            </a:br>
            <a:r>
              <a:rPr lang="en-IN" dirty="0"/>
              <a:t>Three different approaches to move to SAP S/4HAN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4D5DA1-77D0-438C-8391-50C7DDBDD8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219" y="1323381"/>
            <a:ext cx="11036285" cy="477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40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38636-5661-4463-BDAF-10E8FC0D3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implementation</a:t>
            </a:r>
            <a:br>
              <a:rPr lang="en-IN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BC85D49-71D4-4CDB-A588-E76F18423D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6119" y="1267582"/>
            <a:ext cx="10919761" cy="478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61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11E42-1193-4FDD-AC8F-18019995D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conversion</a:t>
            </a:r>
            <a:br>
              <a:rPr lang="en-US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DDC82FC-D024-4B10-9924-A67F706947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4164" y="1289838"/>
            <a:ext cx="10783671" cy="475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59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0E8B9-E937-433D-95B0-47101655F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/4HANA On–Premise Conversion Paths</a:t>
            </a:r>
            <a:br>
              <a:rPr lang="en-IN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726A2EB-81E5-4D97-B192-1E15CCC013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56728" y="1318438"/>
            <a:ext cx="8483182" cy="4769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7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7D969-C463-46A4-8FE4-96195DBDF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conversion guided procedur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EFE95A-CFDB-4D35-8045-F122514D40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878" y="1533861"/>
            <a:ext cx="11568244" cy="379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28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693ED-729E-41AD-8B4B-4514E9F523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dscape transformation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0B604D6-4B7A-44E7-A7DB-6464468F18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0343" y="1394098"/>
            <a:ext cx="10911313" cy="472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61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D2359-816F-4F16-A30C-B4464C18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eployment options understand the difference</a:t>
            </a:r>
            <a:br>
              <a:rPr lang="en-IN" dirty="0"/>
            </a:br>
            <a:endParaRPr lang="en-US" dirty="0"/>
          </a:p>
        </p:txBody>
      </p:sp>
      <p:pic>
        <p:nvPicPr>
          <p:cNvPr id="184" name="Content Placeholder 183">
            <a:extLst>
              <a:ext uri="{FF2B5EF4-FFF2-40B4-BE49-F238E27FC236}">
                <a16:creationId xmlns:a16="http://schemas.microsoft.com/office/drawing/2014/main" id="{70DB1780-1E76-49A6-95AC-9CFC5F02A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6757" y="1424762"/>
            <a:ext cx="11178485" cy="4438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4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45872C8-D8FF-4BC8-8F1D-D0BAB396B8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8977" y="106325"/>
            <a:ext cx="11578856" cy="595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70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A3A76-AB2C-4920-8DD6-DBD3EEF05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New customer 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B0679EA-50C8-414C-B3B2-FD03839B0E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73079" y="1317246"/>
            <a:ext cx="6699601" cy="477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90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FD2E0-414B-4E52-936C-513FC6A86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b="0" dirty="0"/>
              <a:t>Customer Suite on non-HANA DB 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C745680-11AD-40F4-B824-605599A839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00889" y="1286483"/>
            <a:ext cx="6790221" cy="478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63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9BC14-DABE-4B77-A9AD-31289070C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Customer using Suite on HANA 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C5BA537-5033-48CD-BB2C-DCAF5ABC88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39552" y="1354718"/>
            <a:ext cx="6712895" cy="480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7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EBBCA-C094-40AD-9F35-4DC09851A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Pre-migration activities 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6511B94-811F-4105-A717-5C1E862A63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371599"/>
            <a:ext cx="6406301" cy="4663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67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6E3EA-64C3-4BC2-9D33-AB3DFB50F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Indicators of succes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6A3D01F-F824-405F-A877-906A33A7E9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560945"/>
            <a:ext cx="8552662" cy="3736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45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AD095-F51D-4F47-9A97-955902B2E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Key Poin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C239195-F644-4937-960B-5126D08F05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703575"/>
            <a:ext cx="10090760" cy="345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33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/4HANA 1610 – a brief info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22" y="670554"/>
            <a:ext cx="11184565" cy="5926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37417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ABC187B-9804-4C70-B7F2-05438E1093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5949" y="1911971"/>
            <a:ext cx="6172735" cy="338357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93C015-4288-4C48-8081-A2350F83B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7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3FA063-C4FC-4EC5-A52E-86200D5EB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/4HANA 1805 – A brief inf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DFCD2D-6B23-4753-BBAB-6D6F0B186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8684" y="2401373"/>
            <a:ext cx="5476268" cy="226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88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32D54EE-2700-4888-B863-87441F05D5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62373" y="1414949"/>
            <a:ext cx="5529335" cy="46323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7608C-DDBF-4AB5-B876-74EABC93A0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8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A79487-9D34-4DAE-94F2-58ED46262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S/4HANA Cloud for Finance</a:t>
            </a:r>
            <a:br>
              <a:rPr lang="en-US" b="0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4022AA2-54B7-4568-938F-77758551A082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Intelligent GR/IR account reconciliation with SAP Leonardo</a:t>
            </a:r>
          </a:p>
        </p:txBody>
      </p:sp>
    </p:spTree>
    <p:extLst>
      <p:ext uri="{BB962C8B-B14F-4D97-AF65-F5344CB8AC3E}">
        <p14:creationId xmlns:p14="http://schemas.microsoft.com/office/powerpoint/2010/main" val="2524750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10FFA37-5746-434C-AE36-2DB6219036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71871" y="1414949"/>
            <a:ext cx="5248257" cy="46323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8CD08A-2524-4253-A3B7-33EF15ACE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9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A9F196-DDFC-434C-9938-B322AC078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S/4HANA Cloud for Manufacturing</a:t>
            </a:r>
            <a:br>
              <a:rPr lang="en-US" b="0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606C98E-4463-42E5-928C-F79863F18455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Inspection lot analytics</a:t>
            </a:r>
          </a:p>
        </p:txBody>
      </p:sp>
    </p:spTree>
    <p:extLst>
      <p:ext uri="{BB962C8B-B14F-4D97-AF65-F5344CB8AC3E}">
        <p14:creationId xmlns:p14="http://schemas.microsoft.com/office/powerpoint/2010/main" val="1300043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70D7F-717C-4604-B6E5-96CC1C08C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IN" b="0" dirty="0"/>
            </a:br>
            <a:r>
              <a:rPr lang="en-IN" b="0" dirty="0"/>
              <a:t>What is SAP S/4HANA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ECF8AB-6FFA-4140-B97C-862BA5476F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1600" y="1241749"/>
            <a:ext cx="11664000" cy="4633200"/>
          </a:xfrm>
        </p:spPr>
        <p:txBody>
          <a:bodyPr/>
          <a:lstStyle/>
          <a:p>
            <a:r>
              <a:rPr lang="en-IN" dirty="0"/>
              <a:t>The next version of SAP Business Suite</a:t>
            </a:r>
          </a:p>
          <a:p>
            <a:endParaRPr lang="en-IN" dirty="0"/>
          </a:p>
          <a:p>
            <a:r>
              <a:rPr lang="en-IN" dirty="0"/>
              <a:t>New code base, only supported with the SAP HANA DB</a:t>
            </a:r>
          </a:p>
          <a:p>
            <a:endParaRPr lang="en-IN" dirty="0"/>
          </a:p>
          <a:p>
            <a:r>
              <a:rPr lang="en-IN" dirty="0"/>
              <a:t>SAP S/4HANA is SAP’s next-generation business suite that enables customers to streamline data models, optimize daily business transactions, accelerate strategic decision making, and simplify with a digital core – whether you use it in the cloud or on premise.</a:t>
            </a:r>
          </a:p>
          <a:p>
            <a:endParaRPr lang="en-IN" dirty="0"/>
          </a:p>
          <a:p>
            <a:r>
              <a:rPr lang="en-IN" dirty="0"/>
              <a:t>S/4HANA themes</a:t>
            </a:r>
          </a:p>
          <a:p>
            <a:pPr marL="0" indent="0">
              <a:buNone/>
            </a:pPr>
            <a:r>
              <a:rPr lang="en-IN" dirty="0"/>
              <a:t>	Renewed interface with Fiori UX</a:t>
            </a:r>
          </a:p>
          <a:p>
            <a:pPr marL="0" indent="0">
              <a:buNone/>
            </a:pPr>
            <a:r>
              <a:rPr lang="en-IN" dirty="0"/>
              <a:t>	Simplified structure with SAP HANA </a:t>
            </a:r>
          </a:p>
          <a:p>
            <a:pPr marL="0" indent="0">
              <a:buNone/>
            </a:pPr>
            <a:endParaRPr lang="en-IN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02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2604E12-DF70-4F4C-8609-BB03D0B982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5078" y="1414949"/>
            <a:ext cx="6041843" cy="46323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B7D9FB-1CA8-4314-A1FB-DECE5FB59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0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E33D49-9E7E-46F5-B54C-CFA238482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S/4HANA Cloud for Professional Services</a:t>
            </a:r>
            <a:br>
              <a:rPr lang="en-US" b="0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0770F8-AFA9-43A6-AA2B-282B82EC6CBF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Manage Cost Rates – Professional Services app</a:t>
            </a:r>
          </a:p>
        </p:txBody>
      </p:sp>
    </p:spTree>
    <p:extLst>
      <p:ext uri="{BB962C8B-B14F-4D97-AF65-F5344CB8AC3E}">
        <p14:creationId xmlns:p14="http://schemas.microsoft.com/office/powerpoint/2010/main" val="28152507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EE36DC2-0A48-4647-BE96-5F7153A406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75339" y="1701097"/>
            <a:ext cx="6241321" cy="382557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D00685-5780-46C1-B335-9DC69CB7F1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1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D475D7-8A95-4E8D-9BC9-61B1B4065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SAP S/4HANA Cloud for Enterprise Portfolio and Project Management</a:t>
            </a:r>
            <a:br>
              <a:rPr lang="en-US" sz="2400" b="0" dirty="0"/>
            </a:br>
            <a:endParaRPr lang="en-US" sz="24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3104254-8733-49B0-A051-70AD27C03E7D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Project forecasting based on historical project data</a:t>
            </a:r>
          </a:p>
        </p:txBody>
      </p:sp>
    </p:spTree>
    <p:extLst>
      <p:ext uri="{BB962C8B-B14F-4D97-AF65-F5344CB8AC3E}">
        <p14:creationId xmlns:p14="http://schemas.microsoft.com/office/powerpoint/2010/main" val="29919135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72E3178-D108-4333-BD10-0468D87002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81846" y="1414949"/>
            <a:ext cx="6077610" cy="46323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39EB3A-8F0E-4EE7-9391-A66BF7B8B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2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9B6F28-1D47-417A-ADBE-8D6F0D439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S/4HANA Cloud for Sourcing and Procurement</a:t>
            </a:r>
            <a:br>
              <a:rPr lang="en-US" b="0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4D6AF6F-C43F-48F8-8A42-6C552EBA6840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Smart buying</a:t>
            </a:r>
          </a:p>
        </p:txBody>
      </p:sp>
    </p:spTree>
    <p:extLst>
      <p:ext uri="{BB962C8B-B14F-4D97-AF65-F5344CB8AC3E}">
        <p14:creationId xmlns:p14="http://schemas.microsoft.com/office/powerpoint/2010/main" val="170500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DB7A8-AD0E-4363-A975-1E3E0BD38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ere to find more informa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B2086D9-067E-43CC-B760-DF3965334D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3410" y="1671849"/>
            <a:ext cx="11645180" cy="351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05E0B-744B-4AB7-B114-7C5BD8501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96D3AA2-8AF0-4DF7-8BB0-8BFBA1B872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307" y="1454150"/>
            <a:ext cx="1123539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06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pe 591">
            <a:extLst>
              <a:ext uri="{FF2B5EF4-FFF2-40B4-BE49-F238E27FC236}">
                <a16:creationId xmlns:a16="http://schemas.microsoft.com/office/drawing/2014/main" id="{383129F6-DD3B-4006-AAD0-952737AE798B}"/>
              </a:ext>
            </a:extLst>
          </p:cNvPr>
          <p:cNvPicPr preferRelativeResize="0">
            <a:picLocks noGrp="1"/>
          </p:cNvPicPr>
          <p:nvPr>
            <p:ph idx="1"/>
          </p:nvPr>
        </p:nvPicPr>
        <p:blipFill rotWithShape="1">
          <a:blip r:embed="rId2">
            <a:alphaModFix/>
          </a:blip>
          <a:srcRect/>
          <a:stretch/>
        </p:blipFill>
        <p:spPr>
          <a:xfrm>
            <a:off x="1485014" y="1297172"/>
            <a:ext cx="9221972" cy="48271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711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4746F-3A09-4D26-B75E-D67E963E2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ruly new product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C4401C0-2B3D-4C42-B602-A4033DC96F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85673" y="1785392"/>
            <a:ext cx="8866667" cy="39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84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E5FCA1-4D16-4DDB-811E-5843DE635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AP HANA, great simplifier for enterprise application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99D5E70-C4A4-4767-9506-058BA1B647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4095" y="1705875"/>
            <a:ext cx="11523809" cy="40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04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6DE30-40A5-4540-8FD6-C8BC6D2F2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/4 HANA Pillar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BDC839F-4D67-4E25-AEBB-72C71A1663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23393" y="1392866"/>
            <a:ext cx="9270225" cy="469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92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AF5B5-5507-497A-8717-3D528E9B4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are the differences between Suite on HANA and S/4HANA?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592BFD2-3744-4C59-85FD-3576C2464A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26696" y="1454150"/>
            <a:ext cx="9784620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3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D34E9-E476-426B-9095-3F928F168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pletely New Data Model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ABF59BA-FC2E-4EB1-9ECB-A104D22488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80215" y="1429082"/>
            <a:ext cx="9625790" cy="465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2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919D1-3D92-47F3-BBC1-9524850F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/4HANA Example of dramatic simplification:</a:t>
            </a:r>
            <a:br>
              <a:rPr lang="en-IN" dirty="0"/>
            </a:br>
            <a:r>
              <a:rPr lang="en-US" dirty="0"/>
              <a:t>Finance - invoice posting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91CC3EF-0AC8-44F5-BC3C-3338A5BEEB5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2975" y="1307805"/>
            <a:ext cx="10244083" cy="4758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54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283</Words>
  <PresentationFormat>Widescreen</PresentationFormat>
  <Paragraphs>57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S/4HANA</vt:lpstr>
      <vt:lpstr>PowerPoint Presentation</vt:lpstr>
      <vt:lpstr> What is SAP S/4HANA?</vt:lpstr>
      <vt:lpstr>A truly new product</vt:lpstr>
      <vt:lpstr>SAP HANA, great simplifier for enterprise applications</vt:lpstr>
      <vt:lpstr>S/4 HANA Pillars</vt:lpstr>
      <vt:lpstr>What are the differences between Suite on HANA and S/4HANA?</vt:lpstr>
      <vt:lpstr>A Completely New Data Model </vt:lpstr>
      <vt:lpstr>S/4HANA Example of dramatic simplification: Finance - invoice posting </vt:lpstr>
      <vt:lpstr>A single copy of data – one source of truth </vt:lpstr>
      <vt:lpstr>New user experience </vt:lpstr>
      <vt:lpstr>SAP Fiori: The user experience of SAP S/4HANA</vt:lpstr>
      <vt:lpstr>Transition to SAP S/4HANA Three different approaches to move to SAP S/4HANA</vt:lpstr>
      <vt:lpstr>New implementation </vt:lpstr>
      <vt:lpstr>System conversion </vt:lpstr>
      <vt:lpstr>S/4HANA On–Premise Conversion Paths </vt:lpstr>
      <vt:lpstr>System conversion guided procedure  </vt:lpstr>
      <vt:lpstr>Landscape transformation </vt:lpstr>
      <vt:lpstr>Deployment options understand the difference </vt:lpstr>
      <vt:lpstr>New customer </vt:lpstr>
      <vt:lpstr>Customer Suite on non-HANA DB </vt:lpstr>
      <vt:lpstr>Customer using Suite on HANA </vt:lpstr>
      <vt:lpstr>Pre-migration activities </vt:lpstr>
      <vt:lpstr>Indicators of success</vt:lpstr>
      <vt:lpstr>5 Key Points</vt:lpstr>
      <vt:lpstr>S/4HANA 1610 – a brief info</vt:lpstr>
      <vt:lpstr>S/4HANA 1805 – A brief info</vt:lpstr>
      <vt:lpstr>SAP S/4HANA Cloud for Finance </vt:lpstr>
      <vt:lpstr>SAP S/4HANA Cloud for Manufacturing </vt:lpstr>
      <vt:lpstr>SAP S/4HANA Cloud for Professional Services </vt:lpstr>
      <vt:lpstr>SAP S/4HANA Cloud for Enterprise Portfolio and Project Management </vt:lpstr>
      <vt:lpstr>SAP S/4HANA Cloud for Sourcing and Procurement </vt:lpstr>
      <vt:lpstr>Where to find more information</vt:lpstr>
      <vt:lpstr>Resour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7-01T06:58:11Z</dcterms:modified>
</cp:coreProperties>
</file>